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4a" ContentType="audio/mp4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3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2F"/>
    <a:srgbClr val="F5EFEC"/>
    <a:srgbClr val="F4EAE5"/>
    <a:srgbClr val="F0D9CC"/>
    <a:srgbClr val="DBA689"/>
    <a:srgbClr val="99693D"/>
    <a:srgbClr val="BE8B5D"/>
    <a:srgbClr val="C19265"/>
    <a:srgbClr val="CCC5B5"/>
    <a:srgbClr val="C483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62" autoAdjust="0"/>
    <p:restoredTop sz="94595"/>
  </p:normalViewPr>
  <p:slideViewPr>
    <p:cSldViewPr snapToGrid="0" snapToObjects="1">
      <p:cViewPr varScale="1">
        <p:scale>
          <a:sx n="65" d="100"/>
          <a:sy n="65" d="100"/>
        </p:scale>
        <p:origin x="99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E526BC5-AAD0-604E-87BC-F9E1D37F1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7F47631-E1E4-6A4C-86EC-A66C7ADF8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1A65032-E68B-BA4C-80C2-368DAA05B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3079E93-9862-D74C-B96D-AA255F311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772BDCD-DC5F-4E46-8345-A946B9B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2532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4D1E1CD-8795-FB42-8E7C-8071EF71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0D02817A-FF28-C047-ADA5-676622A593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B89C79DB-5B60-E948-94E2-32372FDD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B492258-41E7-3141-B2BB-9271091D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FED8592-8C17-F848-AB39-99B56813C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14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4145CD84-9F99-BB41-9B08-403B0D34E3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CE4C4DA9-C994-B847-9889-F875D1CB81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1EAC42B-CDE7-1644-B84C-1D79A300C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418CED16-823D-364E-B206-B184B6833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B6E3D6AC-CB9D-5C40-97DF-29A1E3BE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6958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008A5F-C541-8844-8C80-93D90317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5A38191-59ED-4D41-AB42-0C54DD460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7934EDE-A2CF-2B48-97A3-8DD37EB6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874047-079B-CC45-B0DD-F7E54EEC7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D6BA46A-03D2-F147-B8E6-1F475051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94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BB3291-C8AF-3A4E-A8AC-FEBC1925C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2620AD-CBFA-174B-882A-2F1380405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344C3EC-5C0C-C846-817A-3322216F0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DF01B80-BAF8-7B4F-92E3-F878C257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B42565C-4827-4E43-B771-7272F2EF1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99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26FCDA1-FCC3-B94F-8D6A-83B98FB3E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9751FEE-02C4-724E-B108-D34489CA2C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D89AB24-1E2C-4F48-B84F-D58BF29BE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57FD548-CFE9-A245-BA6C-E594C958A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1EC21C41-F7F2-E842-8A3B-FBD78F5C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5FDE9E55-98C6-4044-8965-BF0AE8B28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86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363456-A546-A54B-B6AC-13F6C26E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8A8B52-C645-FB40-AEF9-1124CA4B1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298C6128-2EC5-6A4A-8440-CC6CD185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5719B94B-95B1-124F-AD93-B15ADA1DC0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99F00E67-1628-094B-A8E2-11C75EB5D6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A39F819D-A39C-2849-98B1-702E7F941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AF2BAD48-32D4-AC4D-982D-222D690E0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F70979B6-3D6C-8743-8DC8-A44E2D26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86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FD7DFF9-95E7-ED46-9B1D-362E837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D6D1C61-4A42-314A-9A79-E437FE215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0AC08CC7-B235-8A48-8E40-640B6EEA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0822AD74-9A3A-5448-8146-CFD51F589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300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1115C201-69BD-4C4D-B919-04DE9AA3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C22F11F9-D507-7344-B23B-D53F9298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6ED4681E-278F-C44F-84B6-86C69376F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9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A705450-0F51-304D-8970-634E66E05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0D0E09D-B400-9B49-8997-4C3C6EF44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CE3D1130-FF6B-7649-B4A3-55482C10A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D4E5841-D869-BC4A-BCC7-7E3D18AE6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B0A65CD-CFA4-8A45-819E-12B5F9351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A3BCF1F-1FC9-B248-893B-ABAE3DFA1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536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94A3787-DF7E-2D4A-BFEA-69F0D44A3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A0C014EF-B0D5-CC42-9149-71CB162FB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F84181D1-ACE8-434D-AD5F-4775EA8E6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4508D1C-E0E8-074A-94D2-0C05DB79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CE5CB9B-5F16-DE44-9C81-B4A2756FA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CE6CDF4E-8F40-E54B-86EA-5CA17453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407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6EC3EF58-DAAE-064F-BCD1-576DBF76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6A7479F-AEBC-3F4C-A096-356ECD428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21BBB93-FCEE-774B-BE0F-3657DD896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7562A9-B88F-D347-9F83-73D3E63EBE4A}" type="datetimeFigureOut">
              <a:rPr lang="he-IL" smtClean="0"/>
              <a:t>כ"ג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EAC6FA-3B90-FE43-A453-FCC275B8C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D5BFA75-E9CF-7C43-AEB1-E3E9ACFD1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76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3.png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9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video" Target="../media/media23.mp4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4" TargetMode="External"/><Relationship Id="rId5" Type="http://schemas.microsoft.com/office/2007/relationships/media" Target="../media/media23.mp4"/><Relationship Id="rId10" Type="http://schemas.openxmlformats.org/officeDocument/2006/relationships/image" Target="../media/image38.emf"/><Relationship Id="rId4" Type="http://schemas.microsoft.com/office/2007/relationships/media" Target="../media/media22.m4a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3" TargetMode="External"/><Relationship Id="rId1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4.m4a"/><Relationship Id="rId7" Type="http://schemas.openxmlformats.org/officeDocument/2006/relationships/image" Target="../media/image42.png"/><Relationship Id="rId2" Type="http://schemas.openxmlformats.org/officeDocument/2006/relationships/audio" Target="NULL" TargetMode="External"/><Relationship Id="rId1" Type="http://schemas.openxmlformats.org/officeDocument/2006/relationships/tags" Target="../tags/tag8.xml"/><Relationship Id="rId6" Type="http://schemas.openxmlformats.org/officeDocument/2006/relationships/image" Target="../media/image41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2" TargetMode="Externa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gif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2" Type="http://schemas.openxmlformats.org/officeDocument/2006/relationships/video" Target="../media/media25.mp4"/><Relationship Id="rId1" Type="http://schemas.microsoft.com/office/2007/relationships/media" Target="../media/media25.mp4"/><Relationship Id="rId6" Type="http://schemas.openxmlformats.org/officeDocument/2006/relationships/audio" Target="../media/media27.mp3"/><Relationship Id="rId5" Type="http://schemas.microsoft.com/office/2007/relationships/media" Target="../media/media27.mp3"/><Relationship Id="rId10" Type="http://schemas.openxmlformats.org/officeDocument/2006/relationships/image" Target="../media/image3.png"/><Relationship Id="rId4" Type="http://schemas.microsoft.com/office/2007/relationships/media" Target="../media/media26.m4a"/><Relationship Id="rId9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3.mp4"/><Relationship Id="rId7" Type="http://schemas.openxmlformats.org/officeDocument/2006/relationships/image" Target="../media/image5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5.mp3"/><Relationship Id="rId7" Type="http://schemas.openxmlformats.org/officeDocument/2006/relationships/slideLayout" Target="../slideLayouts/slideLayout1.xml"/><Relationship Id="rId2" Type="http://schemas.microsoft.com/office/2007/relationships/media" Target="../media/media4.mp4"/><Relationship Id="rId1" Type="http://schemas.openxmlformats.org/officeDocument/2006/relationships/video" Target="NULL" TargetMode="External"/><Relationship Id="rId6" Type="http://schemas.openxmlformats.org/officeDocument/2006/relationships/audio" Target="../media/media6.mp3"/><Relationship Id="rId11" Type="http://schemas.openxmlformats.org/officeDocument/2006/relationships/image" Target="../media/image3.png"/><Relationship Id="rId5" Type="http://schemas.microsoft.com/office/2007/relationships/media" Target="../media/media6.mp3"/><Relationship Id="rId10" Type="http://schemas.openxmlformats.org/officeDocument/2006/relationships/image" Target="../media/image9.jpeg"/><Relationship Id="rId4" Type="http://schemas.openxmlformats.org/officeDocument/2006/relationships/audio" Target="../media/media5.mp3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../media/media12.mp4"/><Relationship Id="rId13" Type="http://schemas.openxmlformats.org/officeDocument/2006/relationships/image" Target="../media/image13.png"/><Relationship Id="rId3" Type="http://schemas.microsoft.com/office/2007/relationships/media" Target="../media/media8.m4a"/><Relationship Id="rId7" Type="http://schemas.microsoft.com/office/2007/relationships/media" Target="../media/media12.mp4"/><Relationship Id="rId12" Type="http://schemas.openxmlformats.org/officeDocument/2006/relationships/image" Target="../media/image12.png"/><Relationship Id="rId2" Type="http://schemas.microsoft.com/office/2007/relationships/media" Target="../media/media7.m4a"/><Relationship Id="rId16" Type="http://schemas.openxmlformats.org/officeDocument/2006/relationships/image" Target="../media/image15.png"/><Relationship Id="rId1" Type="http://schemas.openxmlformats.org/officeDocument/2006/relationships/audio" Target="NULL" TargetMode="External"/><Relationship Id="rId6" Type="http://schemas.microsoft.com/office/2007/relationships/media" Target="../media/media11.m4a"/><Relationship Id="rId11" Type="http://schemas.openxmlformats.org/officeDocument/2006/relationships/image" Target="../media/image11.png"/><Relationship Id="rId5" Type="http://schemas.microsoft.com/office/2007/relationships/media" Target="../media/media10.m4a"/><Relationship Id="rId15" Type="http://schemas.openxmlformats.org/officeDocument/2006/relationships/image" Target="../media/image3.png"/><Relationship Id="rId10" Type="http://schemas.openxmlformats.org/officeDocument/2006/relationships/image" Target="../media/image10.png"/><Relationship Id="rId4" Type="http://schemas.microsoft.com/office/2007/relationships/media" Target="../media/media9.m4a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3.m4a"/><Relationship Id="rId7" Type="http://schemas.openxmlformats.org/officeDocument/2006/relationships/image" Target="../media/image17.emf"/><Relationship Id="rId2" Type="http://schemas.openxmlformats.org/officeDocument/2006/relationships/audio" Target="NULL" TargetMode="External"/><Relationship Id="rId1" Type="http://schemas.openxmlformats.org/officeDocument/2006/relationships/tags" Target="../tags/tag1.xml"/><Relationship Id="rId6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490;&#1488;&#1504;&#1496;.xlsx!&#1504;&#1497;&#1492;&#1493;&#1500;%20&#1502;&#1495;&#1505;&#1503;%20&#1490;&#1488;&#1504;&#1496;!R1C2:R17C46" TargetMode="External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4.m4a"/><Relationship Id="rId7" Type="http://schemas.openxmlformats.org/officeDocument/2006/relationships/image" Target="../media/image19.jpeg"/><Relationship Id="rId2" Type="http://schemas.openxmlformats.org/officeDocument/2006/relationships/audio" Target="NULL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18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1" TargetMode="Externa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5" TargetMode="External"/><Relationship Id="rId12" Type="http://schemas.openxmlformats.org/officeDocument/2006/relationships/image" Target="../media/image22.emf"/><Relationship Id="rId2" Type="http://schemas.microsoft.com/office/2007/relationships/media" Target="../media/media15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7" TargetMode="External"/><Relationship Id="rId5" Type="http://schemas.openxmlformats.org/officeDocument/2006/relationships/tags" Target="../tags/tag5.xml"/><Relationship Id="rId10" Type="http://schemas.openxmlformats.org/officeDocument/2006/relationships/image" Target="../media/image21.emf"/><Relationship Id="rId4" Type="http://schemas.openxmlformats.org/officeDocument/2006/relationships/tags" Target="../tags/tag4.xml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6" TargetMode="Externa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1.wdp"/><Relationship Id="rId3" Type="http://schemas.microsoft.com/office/2007/relationships/media" Target="../media/media17.m4a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microsoft.com/office/2007/relationships/media" Target="../media/media16.m4a"/><Relationship Id="rId16" Type="http://schemas.openxmlformats.org/officeDocument/2006/relationships/image" Target="../media/image31.png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8.png"/><Relationship Id="rId5" Type="http://schemas.openxmlformats.org/officeDocument/2006/relationships/video" Target="../media/media18.mp4"/><Relationship Id="rId15" Type="http://schemas.openxmlformats.org/officeDocument/2006/relationships/image" Target="../media/image3.png"/><Relationship Id="rId10" Type="http://schemas.openxmlformats.org/officeDocument/2006/relationships/image" Target="../media/image27.png"/><Relationship Id="rId4" Type="http://schemas.microsoft.com/office/2007/relationships/media" Target="../media/media18.mp4"/><Relationship Id="rId9" Type="http://schemas.openxmlformats.org/officeDocument/2006/relationships/image" Target="../media/image26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media" Target="../media/media20.m4a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microsoft.com/office/2007/relationships/media" Target="../media/media19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png"/><Relationship Id="rId5" Type="http://schemas.openxmlformats.org/officeDocument/2006/relationships/video" Target="../media/media21.mp4"/><Relationship Id="rId10" Type="http://schemas.openxmlformats.org/officeDocument/2006/relationships/image" Target="../media/image35.jpeg"/><Relationship Id="rId4" Type="http://schemas.microsoft.com/office/2007/relationships/media" Target="../media/media21.mp4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rgbClr val="FEF4D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AAAE94E3-A7DB-4868-B1E3-E49703488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תיבת טקסט 5">
            <a:extLst>
              <a:ext uri="{FF2B5EF4-FFF2-40B4-BE49-F238E27FC236}">
                <a16:creationId xmlns:a16="http://schemas.microsoft.com/office/drawing/2014/main" id="{FF888302-1D5D-D44C-80C7-6C6D60DEBBB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9377" y="856180"/>
            <a:ext cx="5279408" cy="1128068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he-IL" sz="4000" b="1" spc="600" dirty="0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rPr>
              <a:t>פרויקט ניהול מחסן </a:t>
            </a:r>
          </a:p>
        </p:txBody>
      </p:sp>
      <p:grpSp>
        <p:nvGrpSpPr>
          <p:cNvPr id="4105" name="Group 4104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4106" name="Rectangle 410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7" name="Rectangle 410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123821"/>
            <a:ext cx="4975066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תיבת טקסט 10">
            <a:extLst>
              <a:ext uri="{FF2B5EF4-FFF2-40B4-BE49-F238E27FC236}">
                <a16:creationId xmlns:a16="http://schemas.microsoft.com/office/drawing/2014/main" id="{72214E2F-3F60-0548-BAF5-15789501043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10962" y="3281034"/>
            <a:ext cx="4657823" cy="2400437"/>
          </a:xfrm>
          <a:prstGeom prst="rect">
            <a:avLst/>
          </a:prstGeom>
        </p:spPr>
        <p:txBody>
          <a:bodyPr rtlCol="1" anchor="ctr">
            <a:normAutofit fontScale="92500"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spc="300" dirty="0">
                <a:solidFill>
                  <a:srgbClr val="996C3F"/>
                </a:solidFill>
              </a:rPr>
              <a:t>מנהל פרויקט – </a:t>
            </a:r>
            <a:r>
              <a:rPr lang="he-IL" sz="2800" dirty="0">
                <a:solidFill>
                  <a:srgbClr val="996C3F"/>
                </a:solidFill>
              </a:rPr>
              <a:t>אוסאמה </a:t>
            </a:r>
            <a:r>
              <a:rPr lang="he-IL" sz="2800" dirty="0" err="1">
                <a:solidFill>
                  <a:srgbClr val="996C3F"/>
                </a:solidFill>
              </a:rPr>
              <a:t>סלייח</a:t>
            </a:r>
            <a:r>
              <a:rPr lang="he-IL" sz="2800" dirty="0">
                <a:solidFill>
                  <a:srgbClr val="996C3F"/>
                </a:solidFill>
              </a:rPr>
              <a:t> </a:t>
            </a:r>
          </a:p>
          <a:p>
            <a:r>
              <a:rPr lang="he-IL" sz="2800" spc="300" dirty="0">
                <a:solidFill>
                  <a:srgbClr val="996C3F"/>
                </a:solidFill>
              </a:rPr>
              <a:t>צוות בדיקה </a:t>
            </a:r>
            <a:r>
              <a:rPr lang="he-IL" sz="2800" dirty="0">
                <a:solidFill>
                  <a:srgbClr val="996C3F"/>
                </a:solidFill>
              </a:rPr>
              <a:t>-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מעיין אהרון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שגית נחמיאס 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3" name="Rectangle: Rounded Corners 411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7447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8+ Thousand Software Testing Banner Royalty-Free Images, Stock Photos &amp;  Pictures | Shutterstock">
            <a:extLst>
              <a:ext uri="{FF2B5EF4-FFF2-40B4-BE49-F238E27FC236}">
                <a16:creationId xmlns:a16="http://schemas.microsoft.com/office/drawing/2014/main" id="{BE42DE48-65B1-D252-E9DB-373186A09CA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" r="6904" b="-1"/>
          <a:stretch/>
        </p:blipFill>
        <p:spPr bwMode="auto">
          <a:xfrm>
            <a:off x="7083423" y="1019200"/>
            <a:ext cx="4397433" cy="1644139"/>
          </a:xfrm>
          <a:prstGeom prst="rect">
            <a:avLst/>
          </a:pr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115" name="Rectangle: Rounded Corners 4114">
            <a:extLst>
              <a:ext uri="{FF2B5EF4-FFF2-40B4-BE49-F238E27FC236}">
                <a16:creationId xmlns:a16="http://schemas.microsoft.com/office/drawing/2014/main" id="{8CB5D2D7-DF65-4E86-BFBA-FFB9B5ACE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05479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Warehouse PowerPoint Templates - Warehouse PowerPoint Backgrounds, Templates  for PowerPoint, Presentation Templates, PowerPoint Themes">
            <a:extLst>
              <a:ext uri="{FF2B5EF4-FFF2-40B4-BE49-F238E27FC236}">
                <a16:creationId xmlns:a16="http://schemas.microsoft.com/office/drawing/2014/main" id="{CC33EF91-6D17-0647-D843-99DCB1615EB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39"/>
          <a:stretch/>
        </p:blipFill>
        <p:spPr bwMode="auto">
          <a:xfrm>
            <a:off x="7275676" y="3749459"/>
            <a:ext cx="3997519" cy="2460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1">
            <a:hlinkClick r:id="" action="ppaction://media"/>
            <a:extLst>
              <a:ext uri="{FF2B5EF4-FFF2-40B4-BE49-F238E27FC236}">
                <a16:creationId xmlns:a16="http://schemas.microsoft.com/office/drawing/2014/main" id="{1453F901-62B5-175F-8A0D-678F27FD18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8775" y="72929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8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6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Warehouse Performance Powerpoint Ppt Template Bundles PPT PowerPoint">
            <a:extLst>
              <a:ext uri="{FF2B5EF4-FFF2-40B4-BE49-F238E27FC236}">
                <a16:creationId xmlns:a16="http://schemas.microsoft.com/office/drawing/2014/main" id="{52ADEC73-4E8C-CEE7-D17E-4E810D6F8C8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" t="17455" r="42565" b="8122"/>
          <a:stretch/>
        </p:blipFill>
        <p:spPr bwMode="auto">
          <a:xfrm>
            <a:off x="838200" y="937746"/>
            <a:ext cx="3828169" cy="293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752284" y="-202959"/>
            <a:ext cx="7031182" cy="150588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8012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5400" b="1" spc="800">
                <a:ln w="12700">
                  <a:solidFill>
                    <a:srgbClr val="444346"/>
                  </a:solidFill>
                </a:ln>
                <a:solidFill>
                  <a:srgbClr val="017D76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A58728"/>
                </a:solidFill>
              </a:rPr>
              <a:t>ממשקים פנימיים וחיצוניים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F119380-70B2-925F-CD7C-72906526C8E5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62301"/>
              </p:ext>
            </p:extLst>
          </p:nvPr>
        </p:nvGraphicFramePr>
        <p:xfrm>
          <a:off x="5349875" y="1588294"/>
          <a:ext cx="6164263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9" imgW="6164722" imgH="2685698" progId="Word.Document.12">
                  <p:link updateAutomatic="1"/>
                </p:oleObj>
              </mc:Choice>
              <mc:Fallback>
                <p:oleObj name="Document" r:id="rId9" imgW="6164722" imgH="2685698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349875" y="1588294"/>
                        <a:ext cx="6164263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886D823-507A-F2DC-D138-EDB174CC9064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470233"/>
              </p:ext>
            </p:extLst>
          </p:nvPr>
        </p:nvGraphicFramePr>
        <p:xfrm>
          <a:off x="838200" y="4141450"/>
          <a:ext cx="6164263" cy="253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11" imgW="6164722" imgH="2537514" progId="Word.Document.12">
                  <p:link updateAutomatic="1"/>
                </p:oleObj>
              </mc:Choice>
              <mc:Fallback>
                <p:oleObj name="Document" r:id="rId11" imgW="6164722" imgH="2537514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838200" y="4141450"/>
                        <a:ext cx="6164263" cy="253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8694D7D9-66B0-40DB-4FFF-E6148A35CA3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288" end="900.6458"/>
                </p14:media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701675" y="7889875"/>
            <a:ext cx="531813" cy="531813"/>
          </a:xfrm>
          <a:prstGeom prst="rect">
            <a:avLst/>
          </a:prstGeom>
        </p:spPr>
      </p:pic>
      <p:pic>
        <p:nvPicPr>
          <p:cNvPr id="3" name="Untitled Video">
            <a:hlinkClick r:id="" action="ppaction://media"/>
            <a:extLst>
              <a:ext uri="{FF2B5EF4-FFF2-40B4-BE49-F238E27FC236}">
                <a16:creationId xmlns:a16="http://schemas.microsoft.com/office/drawing/2014/main" id="{42A8545F-5E43-35E0-C13A-F8B3069C6F8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4"/>
          <a:srcRect t="20409" b="13792"/>
          <a:stretch>
            <a:fillRect/>
          </a:stretch>
        </p:blipFill>
        <p:spPr>
          <a:xfrm>
            <a:off x="6818185" y="3934650"/>
            <a:ext cx="2581848" cy="30201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4461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6836 -0.21412 L -1.25E-6 1.82146E-1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097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24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1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3828 -0.42755 L 3.54167E-6 3.7037E-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14" y="2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1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00"/>
                            </p:stCondLst>
                            <p:childTnLst>
                              <p:par>
                                <p:cTn id="3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0.00274 0.49282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2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100"/>
                            </p:stCondLst>
                            <p:childTnLst>
                              <p:par>
                                <p:cTn id="40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7761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 showWhenStopped="0">
                <p:cTn id="4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4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5" fill="hold">
                      <p:stCondLst>
                        <p:cond delay="0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40714" y="5667101"/>
            <a:ext cx="4173600" cy="1098692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he-IL" dirty="0">
                <a:solidFill>
                  <a:srgbClr val="C48309"/>
                </a:solidFill>
              </a:rPr>
              <a:t>ניהול סיכונים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479D2BB-3BA0-CAA4-830A-EAB2F0746DC1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25468"/>
              </p:ext>
            </p:extLst>
          </p:nvPr>
        </p:nvGraphicFramePr>
        <p:xfrm>
          <a:off x="1680844" y="4688"/>
          <a:ext cx="8830311" cy="469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664049" imgH="5660193" progId="Word.Document.12">
                  <p:link updateAutomatic="1"/>
                </p:oleObj>
              </mc:Choice>
              <mc:Fallback>
                <p:oleObj name="Document" r:id="rId5" imgW="6664049" imgH="5660193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844" y="4688"/>
                        <a:ext cx="8830311" cy="469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Free Warehouse PowerPoint Templates And Google Slides">
            <a:extLst>
              <a:ext uri="{FF2B5EF4-FFF2-40B4-BE49-F238E27FC236}">
                <a16:creationId xmlns:a16="http://schemas.microsoft.com/office/drawing/2014/main" id="{9D939EE1-3E39-5DC1-DAEA-C9445E2D5E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t="28100" r="36532" b="14450"/>
          <a:stretch/>
        </p:blipFill>
        <p:spPr bwMode="auto">
          <a:xfrm>
            <a:off x="2433484" y="5105210"/>
            <a:ext cx="4218039" cy="16852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9882E6A4-470C-B462-332F-4DC5DA54D33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041" end="671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6875" y="74580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3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50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3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1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4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0.00069 L 0.01614 -0.00069 C 0.02408 -0.00069 0.0332 -0.01389 0.0414 -0.01713 C 0.047 -0.01713 0.0582 -0.00324 0.06354 -0.00324 C 0.07057 -0.00324 0.07682 -0.00718 0.09049 -0.00718 C 0.0931 -0.0588 0.09622 -0.11134 0.09895 -0.16273 C 0.10247 -0.09977 0.10586 -0.03773 0.10924 0.025 C 0.04622 0.00023 -0.46927 0.09398 -0.55013 0.02431 " pathEditMode="relative" rAng="0" ptsTypes="AAAAAAAA">
                                      <p:cBhvr>
                                        <p:cTn id="20" dur="2000" spd="-100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53" y="-5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1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3A25D70-4A55-4F72-B9C5-A69CDBF4D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957100-6D8B-4161-9F2F-C0A949EC8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BCB02B1-1B82-403C-B7D2-E2CED1882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DE13A7-6382-4A67-BEBE-4FF1F37C7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9978FC9-2E40-4257-8D97-FAB20CA4BF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0ABB98-77BA-4C40-8121-34D196E58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1AA752E-66C1-4835-8A3C-556475159D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9555AB-2295-4939-AEC9-B2CBFCB4CC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499201-5A2C-48B3-9B02-5519B88294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FC2AE7-C60C-4C48-BCAE-410BB6C3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A1593-6BC9-441E-8F3C-46DD50F810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7" name="Picture 6" descr="Cartoon of hands clapping&#10;&#10;AI-generated content may be incorrect.">
            <a:extLst>
              <a:ext uri="{FF2B5EF4-FFF2-40B4-BE49-F238E27FC236}">
                <a16:creationId xmlns:a16="http://schemas.microsoft.com/office/drawing/2014/main" id="{118F7C4E-44F2-C230-30B0-34B08099641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rcRect l="-13474" t="-7007" r="-30572" b="-10253"/>
          <a:stretch/>
        </p:blipFill>
        <p:spPr>
          <a:xfrm>
            <a:off x="4021073" y="312128"/>
            <a:ext cx="2950541" cy="24018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video-name">
            <a:hlinkClick r:id="" action="ppaction://media"/>
            <a:extLst>
              <a:ext uri="{FF2B5EF4-FFF2-40B4-BE49-F238E27FC236}">
                <a16:creationId xmlns:a16="http://schemas.microsoft.com/office/drawing/2014/main" id="{5CA64B8C-C3E3-886E-B2E0-0AFBDD13A9B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l="28508" t="10911" r="31724" b="-1"/>
          <a:stretch/>
        </p:blipFill>
        <p:spPr>
          <a:xfrm>
            <a:off x="6860320" y="1099098"/>
            <a:ext cx="4457964" cy="5617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7147D5D-F01F-4164-BD81-D10DC6F23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142" y="2854"/>
            <a:ext cx="2783421" cy="2406445"/>
            <a:chOff x="-305" y="-4155"/>
            <a:chExt cx="2514948" cy="21743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24C7412-3E2D-4708-8DC3-425A457A10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1483A6A-CB0B-4469-B09D-C9451F9B07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935E9D-EB55-46F3-BCCB-9CB918E870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EDC5655-C7D7-4936-91EA-E188A96DC6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D0E248E-80AB-4B35-BA8D-F940FCB44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417253" y="4456669"/>
            <a:ext cx="2783421" cy="2406445"/>
            <a:chOff x="-305" y="-4155"/>
            <a:chExt cx="2514948" cy="2174333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9E91B0A-66E8-4298-BAC6-004DBE491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629C66-36BD-487E-B1CD-ED026D7789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BC2D2C-3D7D-4224-81BC-22C094C9F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3BDF903-22C5-4312-8776-C2ABC3EDC0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846C4B2-39B6-F8F8-A499-1EFC04DE3C5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584" end="1232.6458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748" y="7207799"/>
            <a:ext cx="531813" cy="531812"/>
          </a:xfrm>
          <a:prstGeom prst="rect">
            <a:avLst/>
          </a:prstGeom>
        </p:spPr>
      </p:pic>
      <p:pic>
        <p:nvPicPr>
          <p:cNvPr id="4" name="Applause  Sound Effect">
            <a:hlinkClick r:id="" action="ppaction://media"/>
            <a:extLst>
              <a:ext uri="{FF2B5EF4-FFF2-40B4-BE49-F238E27FC236}">
                <a16:creationId xmlns:a16="http://schemas.microsoft.com/office/drawing/2014/main" id="{F7878037-B753-1CA6-0356-C034676654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79854" y="7207798"/>
            <a:ext cx="531813" cy="531813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813791" y="2419788"/>
            <a:ext cx="4518875" cy="2561334"/>
          </a:xfrm>
          <a:prstGeom prst="rect">
            <a:avLst/>
          </a:prstGeom>
        </p:spPr>
        <p:txBody>
          <a:bodyPr rtlCol="1" anchor="ctr">
            <a:prstTxWarp prst="textCascade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C48309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dirty="0">
                <a:solidFill>
                  <a:srgbClr val="C00000"/>
                </a:solidFill>
              </a:rPr>
              <a:t>תודה על ההקשבה</a:t>
            </a:r>
          </a:p>
          <a:p>
            <a:r>
              <a:rPr lang="he-IL" sz="2800" dirty="0">
                <a:solidFill>
                  <a:srgbClr val="C00000"/>
                </a:solidFill>
              </a:rPr>
              <a:t>הצוות</a:t>
            </a:r>
          </a:p>
        </p:txBody>
      </p:sp>
    </p:spTree>
    <p:extLst>
      <p:ext uri="{BB962C8B-B14F-4D97-AF65-F5344CB8AC3E}">
        <p14:creationId xmlns:p14="http://schemas.microsoft.com/office/powerpoint/2010/main" val="220834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4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63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9000">
              <a:srgbClr val="F7F6F6"/>
            </a:gs>
            <a:gs pos="75000">
              <a:srgbClr val="BAD5F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89536" y="152400"/>
            <a:ext cx="3416214" cy="1297115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600" dirty="0">
                <a:solidFill>
                  <a:srgbClr val="99693D"/>
                </a:solidFill>
              </a:rPr>
              <a:t>תוכן המצגת </a:t>
            </a:r>
          </a:p>
        </p:txBody>
      </p:sp>
      <p:sp>
        <p:nvSpPr>
          <p:cNvPr id="23" name="תיבת טקסט 22">
            <a:extLst>
              <a:ext uri="{FF2B5EF4-FFF2-40B4-BE49-F238E27FC236}">
                <a16:creationId xmlns:a16="http://schemas.microsoft.com/office/drawing/2014/main" id="{F8978374-365E-A04E-8086-E3A87D716EC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19639" y="2675125"/>
            <a:ext cx="399089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>
              <a:lnSpc>
                <a:spcPct val="150000"/>
              </a:lnSpc>
              <a:spcAft>
                <a:spcPts val="600"/>
              </a:spcAft>
              <a:defRPr sz="2800" b="1">
                <a:solidFill>
                  <a:srgbClr val="FF0000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לא 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ממשקים פנימיים וחיצוניים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ניהול סיכונים</a:t>
            </a:r>
            <a:endParaRPr lang="en-US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CF306717-6ACC-1944-A4F5-3E1D85E345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234422" y="949110"/>
            <a:ext cx="553103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יאור המערכת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לו"ז תכנון וביצוע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נאי סף לתחילת עבודה וסיום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דרישות לביצוע הבדיקות</a:t>
            </a:r>
            <a:r>
              <a:rPr lang="en-US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endParaRPr lang="he-IL" sz="2800" b="1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074" name="Picture 2" descr="Warehouse Management PPT Template and Google Slides">
            <a:extLst>
              <a:ext uri="{FF2B5EF4-FFF2-40B4-BE49-F238E27FC236}">
                <a16:creationId xmlns:a16="http://schemas.microsoft.com/office/drawing/2014/main" id="{0E3A92F7-C64D-5D3B-39F6-148F600E359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3555" r="48830" b="4444"/>
          <a:stretch/>
        </p:blipFill>
        <p:spPr bwMode="auto">
          <a:xfrm>
            <a:off x="6672649" y="3953284"/>
            <a:ext cx="4922012" cy="27523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1">
            <a:hlinkClick r:id="" action="ppaction://media"/>
            <a:extLst>
              <a:ext uri="{FF2B5EF4-FFF2-40B4-BE49-F238E27FC236}">
                <a16:creationId xmlns:a16="http://schemas.microsoft.com/office/drawing/2014/main" id="{EE7AE264-333C-D775-9EA4-E6748FC0BDF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359025" y="7254875"/>
            <a:ext cx="609600" cy="609600"/>
          </a:xfrm>
          <a:prstGeom prst="rect">
            <a:avLst/>
          </a:prstGeom>
        </p:spPr>
      </p:pic>
      <p:pic>
        <p:nvPicPr>
          <p:cNvPr id="4" name="Luna">
            <a:hlinkClick r:id="" action="ppaction://media"/>
            <a:extLst>
              <a:ext uri="{FF2B5EF4-FFF2-40B4-BE49-F238E27FC236}">
                <a16:creationId xmlns:a16="http://schemas.microsoft.com/office/drawing/2014/main" id="{59029D36-9F7F-1E5C-3B6A-DD545283A10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rcRect t="25851" b="17616"/>
          <a:stretch/>
        </p:blipFill>
        <p:spPr>
          <a:xfrm>
            <a:off x="4622831" y="943132"/>
            <a:ext cx="3241454" cy="3257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3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328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28"/>
                            </p:stCondLst>
                            <p:childTnLst>
                              <p:par>
                                <p:cTn id="2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860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0" presetClass="path" presetSubtype="0" accel="50000" decel="50000" fill="hold" nodeType="withEffect">
                                  <p:stCondLst>
                                    <p:cond delay="10200"/>
                                  </p:stCondLst>
                                  <p:childTnLst>
                                    <p:animMotion origin="layout" path="M -0.38151 -0.08241 L -0.2569 -0.08241 C -0.20078 -0.08241 -0.03971 -0.09884 -0.03971 -0.04282 C -0.03971 -0.00046 6.25E-7 -0.02986 6.25E-7 0.01273 " pathEditMode="relative" rAng="0" ptsTypes="AAAA">
                                      <p:cBhvr>
                                        <p:cTn id="47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76" y="463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4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6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>
                <p:cTn id="5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12" grpId="0"/>
      <p:bldP spid="23" grpId="0" uiExpand="1" build="p"/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rgbClr val="F7F6F6"/>
            </a:gs>
            <a:gs pos="52000">
              <a:srgbClr val="F0D9CC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video-name">
            <a:hlinkClick r:id="" action="ppaction://media"/>
            <a:extLst>
              <a:ext uri="{FF2B5EF4-FFF2-40B4-BE49-F238E27FC236}">
                <a16:creationId xmlns:a16="http://schemas.microsoft.com/office/drawing/2014/main" id="{B4A387E7-6388-5429-22DD-9F31853DC2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623"/>
                </p14:media>
              </p:ext>
            </p:extLst>
          </p:nvPr>
        </p:nvPicPr>
        <p:blipFill>
          <a:blip r:embed="rId8"/>
          <a:srcRect l="29567" t="13002" r="32713" b="-315"/>
          <a:stretch/>
        </p:blipFill>
        <p:spPr>
          <a:xfrm>
            <a:off x="2721946" y="1550456"/>
            <a:ext cx="3410488" cy="44406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746057" y="207123"/>
            <a:ext cx="4699580" cy="783771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chemeClr val="accent6">
                    <a:lumMod val="50000"/>
                  </a:schemeClr>
                </a:solidFill>
              </a:rPr>
              <a:t>תיאור המערכת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1"/>
            <a:ext cx="3362070" cy="2522848"/>
            <a:chOff x="-305" y="-1"/>
            <a:chExt cx="3832880" cy="287613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402FEAE7-E8D1-3A41-BF67-A62A731E86A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665" y="133024"/>
            <a:ext cx="1346204" cy="1346203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F3C80984-A6FE-6D41-A7E7-64170BFB9C6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2434" y="1163849"/>
            <a:ext cx="5165811" cy="5213890"/>
          </a:xfrm>
          <a:prstGeom prst="rect">
            <a:avLst/>
          </a:prstGeom>
        </p:spPr>
        <p:txBody>
          <a:bodyPr rtlCol="1" anchor="ctr">
            <a:normAutofit lnSpcReduction="10000"/>
          </a:bodyPr>
          <a:lstStyle/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זו מיועדת לניהול מחסן ומכירות של חברה המספקת ציוד שיפוצים ובנייה.</a:t>
            </a:r>
            <a:endParaRPr lang="en-US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endParaRPr lang="he-IL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באה להחליף מערכת קיימת שכבר איננה מתאימה לצורכי החברה.</a:t>
            </a:r>
          </a:p>
          <a:p>
            <a:pPr algn="just">
              <a:spcAft>
                <a:spcPts val="300"/>
              </a:spcAft>
            </a:pPr>
            <a:b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</a:b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נתמכת גם באתר אינטרנט ייעודי שאליו ניתן להתחבר מחוץ לחברה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10186037" y="4852038"/>
            <a:ext cx="2151670" cy="1860256"/>
            <a:chOff x="-305" y="-4155"/>
            <a:chExt cx="2514948" cy="2174333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050" name="Picture 2" descr="Top 10 Meeting Logistics PowerPoint Presentation Templates in 2025">
            <a:extLst>
              <a:ext uri="{FF2B5EF4-FFF2-40B4-BE49-F238E27FC236}">
                <a16:creationId xmlns:a16="http://schemas.microsoft.com/office/drawing/2014/main" id="{A2242E27-2322-F7F8-4052-6AE1039AD2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8" t="5758" r="8634" b="5758"/>
          <a:stretch/>
        </p:blipFill>
        <p:spPr bwMode="auto">
          <a:xfrm>
            <a:off x="12312" y="2588755"/>
            <a:ext cx="2730888" cy="42790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1">
            <a:hlinkClick r:id="" action="ppaction://media"/>
            <a:extLst>
              <a:ext uri="{FF2B5EF4-FFF2-40B4-BE49-F238E27FC236}">
                <a16:creationId xmlns:a16="http://schemas.microsoft.com/office/drawing/2014/main" id="{B79E7699-3207-1472-406E-818B987201D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482725" y="7312025"/>
            <a:ext cx="609600" cy="609600"/>
          </a:xfrm>
          <a:prstGeom prst="rect">
            <a:avLst/>
          </a:prstGeom>
        </p:spPr>
      </p:pic>
      <p:pic>
        <p:nvPicPr>
          <p:cNvPr id="6" name="1">
            <a:hlinkClick r:id="" action="ppaction://media"/>
            <a:extLst>
              <a:ext uri="{FF2B5EF4-FFF2-40B4-BE49-F238E27FC236}">
                <a16:creationId xmlns:a16="http://schemas.microsoft.com/office/drawing/2014/main" id="{31B7D4DC-97B4-A216-0212-9840B6EADD0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15925" y="74072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168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2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rgbClr val="F7F6F6"/>
            </a:gs>
            <a:gs pos="100000">
              <a:srgbClr val="D7D7D0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arehouse shelves filled with boxes, and four numbered red circles with captions on the right white area.">
            <a:extLst>
              <a:ext uri="{FF2B5EF4-FFF2-40B4-BE49-F238E27FC236}">
                <a16:creationId xmlns:a16="http://schemas.microsoft.com/office/drawing/2014/main" id="{A4065E65-891F-7E85-74D0-955C575EA8B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clrChange>
              <a:clrFrom>
                <a:srgbClr val="BBC3C5"/>
              </a:clrFrom>
              <a:clrTo>
                <a:srgbClr val="BBC3C5">
                  <a:alpha val="0"/>
                </a:srgbClr>
              </a:clrTo>
            </a:clrChange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00"/>
          <a:stretch/>
        </p:blipFill>
        <p:spPr bwMode="auto">
          <a:xfrm>
            <a:off x="248753" y="292099"/>
            <a:ext cx="5251631" cy="63527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 fov="1200000">
              <a:rot lat="20864504" lon="328927" rev="21333205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81601" y="101325"/>
            <a:ext cx="7375938" cy="987017"/>
          </a:xfrm>
          <a:prstGeom prst="rect">
            <a:avLst/>
          </a:prstGeom>
        </p:spPr>
        <p:txBody>
          <a:bodyPr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31750">
                  <a:solidFill>
                    <a:srgbClr val="002060"/>
                  </a:solidFill>
                </a:ln>
                <a:solidFill>
                  <a:schemeClr val="tx2"/>
                </a:solidFill>
              </a:defRPr>
            </a:lvl1pPr>
          </a:lstStyle>
          <a:p>
            <a:r>
              <a:rPr lang="he-IL" dirty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שתמשי מערכת </a:t>
            </a:r>
          </a:p>
        </p:txBody>
      </p:sp>
      <p:pic>
        <p:nvPicPr>
          <p:cNvPr id="13" name="תמונה 12">
            <a:extLst>
              <a:ext uri="{FF2B5EF4-FFF2-40B4-BE49-F238E27FC236}">
                <a16:creationId xmlns:a16="http://schemas.microsoft.com/office/drawing/2014/main" id="{9047320F-E11A-E74E-AFD0-A599CC087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0622" y="4289321"/>
            <a:ext cx="1760740" cy="1554242"/>
          </a:xfrm>
          <a:prstGeom prst="rect">
            <a:avLst/>
          </a:prstGeom>
        </p:spPr>
      </p:pic>
      <p:pic>
        <p:nvPicPr>
          <p:cNvPr id="24" name="תמונה 23">
            <a:extLst>
              <a:ext uri="{FF2B5EF4-FFF2-40B4-BE49-F238E27FC236}">
                <a16:creationId xmlns:a16="http://schemas.microsoft.com/office/drawing/2014/main" id="{F967DA53-9B93-8B42-B0AB-1CA09D2E0E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3111" y="1473301"/>
            <a:ext cx="1501750" cy="1709061"/>
          </a:xfrm>
          <a:prstGeom prst="rect">
            <a:avLst/>
          </a:prstGeom>
        </p:spPr>
      </p:pic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D0D574C9-2E97-E949-886A-021FA838035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3090876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דמיניסטרטור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5" name="תיבת טקסט 14">
            <a:extLst>
              <a:ext uri="{FF2B5EF4-FFF2-40B4-BE49-F238E27FC236}">
                <a16:creationId xmlns:a16="http://schemas.microsoft.com/office/drawing/2014/main" id="{74252DE8-C744-7C49-BFD8-C01B9C866D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5873734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כירות 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8870506B-8F01-B747-AF68-40587AB6F81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69099" y="4442764"/>
            <a:ext cx="2066124" cy="1281933"/>
          </a:xfrm>
          <a:prstGeom prst="rect">
            <a:avLst/>
          </a:prstGeom>
        </p:spPr>
      </p:pic>
      <p:pic>
        <p:nvPicPr>
          <p:cNvPr id="16" name="תמונה 15">
            <a:extLst>
              <a:ext uri="{FF2B5EF4-FFF2-40B4-BE49-F238E27FC236}">
                <a16:creationId xmlns:a16="http://schemas.microsoft.com/office/drawing/2014/main" id="{1F9494AC-B410-704D-8FF0-B72A9CB23BB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1079" y="1595120"/>
            <a:ext cx="1582163" cy="1582162"/>
          </a:xfrm>
          <a:prstGeom prst="rect">
            <a:avLst/>
          </a:prstGeom>
        </p:spPr>
      </p:pic>
      <p:sp>
        <p:nvSpPr>
          <p:cNvPr id="17" name="תיבת טקסט 16">
            <a:extLst>
              <a:ext uri="{FF2B5EF4-FFF2-40B4-BE49-F238E27FC236}">
                <a16:creationId xmlns:a16="http://schemas.microsoft.com/office/drawing/2014/main" id="{7555AE68-83DB-D243-90D6-9E85A775F3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3133392"/>
            <a:ext cx="2385294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נשי המשרד 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8" name="תיבת טקסט 17">
            <a:extLst>
              <a:ext uri="{FF2B5EF4-FFF2-40B4-BE49-F238E27FC236}">
                <a16:creationId xmlns:a16="http://schemas.microsoft.com/office/drawing/2014/main" id="{8C4F3314-FF41-A346-9142-7A526B54673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5856778"/>
            <a:ext cx="2385294" cy="476446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שלוחים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2DF3656-E12D-1E2F-94CF-C020F86A038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570" end="1595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524" y="7092330"/>
            <a:ext cx="531813" cy="531813"/>
          </a:xfrm>
          <a:prstGeom prst="rect">
            <a:avLst/>
          </a:prstGeom>
        </p:spPr>
      </p:pic>
      <p:pic>
        <p:nvPicPr>
          <p:cNvPr id="4" name="Recording">
            <a:hlinkClick r:id="" action="ppaction://media"/>
            <a:extLst>
              <a:ext uri="{FF2B5EF4-FFF2-40B4-BE49-F238E27FC236}">
                <a16:creationId xmlns:a16="http://schemas.microsoft.com/office/drawing/2014/main" id="{3A63582B-DB12-81B2-6B66-D2D70BDE11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460" end="410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04351" y="7074692"/>
            <a:ext cx="531813" cy="531813"/>
          </a:xfrm>
          <a:prstGeom prst="rect">
            <a:avLst/>
          </a:prstGeom>
        </p:spPr>
      </p:pic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72A7A3A1-20DC-3B6D-82FD-60148B3208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1226" end="870.3125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956628" y="7074693"/>
            <a:ext cx="531812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E5DCC9A1-AEFA-2E1E-958D-F7575D5C3D4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2260" end="519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541568" y="7092330"/>
            <a:ext cx="531813" cy="531813"/>
          </a:xfrm>
          <a:prstGeom prst="rect">
            <a:avLst/>
          </a:prstGeom>
        </p:spPr>
      </p:pic>
      <p:pic>
        <p:nvPicPr>
          <p:cNvPr id="7" name="Recording">
            <a:hlinkClick r:id="" action="ppaction://media"/>
            <a:extLst>
              <a:ext uri="{FF2B5EF4-FFF2-40B4-BE49-F238E27FC236}">
                <a16:creationId xmlns:a16="http://schemas.microsoft.com/office/drawing/2014/main" id="{53EE4A1A-7D12-E014-D7B8-B07504EEE2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2827" end="1095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558637" y="711797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B2603771-B947-BEA9-3A9C-9056621418A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6"/>
          <a:srcRect t="26078" b="17570"/>
          <a:stretch/>
        </p:blipFill>
        <p:spPr>
          <a:xfrm flipH="1">
            <a:off x="1562115" y="3219013"/>
            <a:ext cx="3331585" cy="3337638"/>
          </a:xfrm>
          <a:prstGeom prst="roundRect">
            <a:avLst>
              <a:gd name="adj" fmla="val 5783"/>
            </a:avLst>
          </a:prstGeom>
          <a:ln>
            <a:noFill/>
          </a:ln>
          <a:effectLst/>
          <a:scene3d>
            <a:camera prst="perspectiveRelaxed" fov="3600000">
              <a:rot lat="21000000" lon="1140000" rev="21240000"/>
            </a:camera>
            <a:lightRig rig="twoPt" dir="t">
              <a:rot lat="0" lon="0" rev="10200000"/>
            </a:lightRig>
          </a:scene3d>
          <a:sp3d contourW="6350">
            <a:bevelT w="165100" h="317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758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81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1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6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4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27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277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38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90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158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142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8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81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36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699"/>
                            </p:stCondLst>
                            <p:childTnLst>
                              <p:par>
                                <p:cTn id="50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5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3" dur="3300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audio>
              <p:cMediaNode vol="80000">
                <p:cTn id="5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video>
              <p:cMediaNode vol="80000" showWhenStopped="0">
                <p:cTn id="59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3" grpId="0"/>
      <p:bldP spid="15" grpId="0"/>
      <p:bldP spid="17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6000">
              <a:srgbClr val="F7F6F6"/>
            </a:gs>
            <a:gs pos="100000">
              <a:srgbClr val="CCC5B5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Portrait of a Manager in a Logistics Company - in the Background Stock  Photo - Image of depot, industrial: 112707904">
            <a:extLst>
              <a:ext uri="{FF2B5EF4-FFF2-40B4-BE49-F238E27FC236}">
                <a16:creationId xmlns:a16="http://schemas.microsoft.com/office/drawing/2014/main" id="{26990691-1C61-EF62-7152-E6DA45DAB5D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678" y="5053789"/>
            <a:ext cx="2607842" cy="174073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80229" y="5279511"/>
            <a:ext cx="5631544" cy="739880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lnSpcReduction="1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45A74"/>
                </a:solidFill>
              </a:rPr>
              <a:t>לו״ז תכנון וביצוע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2935CA94-BD8C-930A-C296-17F46EEF1C0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919778"/>
              </p:ext>
            </p:extLst>
          </p:nvPr>
        </p:nvGraphicFramePr>
        <p:xfrm>
          <a:off x="538480" y="838610"/>
          <a:ext cx="11115040" cy="4101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2527414" imgH="6808278" progId="Excel.Sheet.12">
                  <p:link updateAutomatic="1"/>
                </p:oleObj>
              </mc:Choice>
              <mc:Fallback>
                <p:oleObj name="Worksheet" r:id="rId6" imgW="22527414" imgH="680827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8480" y="838610"/>
                        <a:ext cx="11115040" cy="4101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F2594588-CCAA-3288-0AE6-39C733F2D4C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400" end="566.645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72573" y="7019034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8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1000">
              <a:srgbClr val="F7F6F6"/>
            </a:gs>
            <a:gs pos="100000">
              <a:srgbClr val="FDE66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 rot="21238989">
            <a:off x="4020457" y="494414"/>
            <a:ext cx="7228114" cy="81740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B88A26"/>
                </a:solidFill>
              </a:rPr>
              <a:t>דרישות לביצוע הבדיקות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4B00D87-5A81-C5E2-8E57-774CC80731B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02850"/>
              </p:ext>
            </p:extLst>
          </p:nvPr>
        </p:nvGraphicFramePr>
        <p:xfrm>
          <a:off x="2638561" y="2083507"/>
          <a:ext cx="7824788" cy="4486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107604" imgH="4074156" progId="Word.Document.12">
                  <p:link updateAutomatic="1"/>
                </p:oleObj>
              </mc:Choice>
              <mc:Fallback>
                <p:oleObj name="Document" r:id="rId5" imgW="6107604" imgH="4074156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38561" y="2083507"/>
                        <a:ext cx="7824788" cy="4486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15,666 Warehouse Background Man Stock Photos - Free &amp; Royalty-Free Stock  Photos from Dreamstime">
            <a:extLst>
              <a:ext uri="{FF2B5EF4-FFF2-40B4-BE49-F238E27FC236}">
                <a16:creationId xmlns:a16="http://schemas.microsoft.com/office/drawing/2014/main" id="{F65B4D7E-0B52-3D9A-847B-AC164A97B81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464292" cy="229076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7C96CB1-A5ED-1CC8-1F08-0EC3E299EC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2443" end="872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41312" y="715743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1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7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0.24115 -0.1169 C 0.20873 -0.09097 0.19987 0.01621 0.14479 0.0044 C 0.05391 0.0419 0.02956 -0.00926 -0.00013 -0.00162 " pathEditMode="relative" rAng="9900000" ptsTypes="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71" y="965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99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38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448 0.44444 L 0.08021 0.41597 L 0.02448 0.38935 L 0.08021 0.36088 L 0.02448 0.3324 L 0.08021 0.30578 L 0.02448 0.27731 L 0.08021 0.25069 L 0.02448 0.22222 L 0.08021 0.19375 L 0.02448 0.16713 L 0.08021 0.13865 L 0.02448 0.11203 L 0.08021 0.08356 L 0.02448 0.05509 L 0.08021 0.02847 L 0.02448 2.96296E-6 " pathEditMode="relative" rAng="16200000" ptsTypes="AAAAAAAAAAAAAAAAA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2222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4000">
              <a:srgbClr val="AFDCB1"/>
            </a:gs>
            <a:gs pos="20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54984" y="307472"/>
            <a:ext cx="8682032" cy="892552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1571971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EC6132"/>
                </a:solidFill>
              </a:rPr>
              <a:t>תנאי סף לתחילת וסיום בדיקות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86254A-4236-9AAE-43E3-7A478DC9AF7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65423" y="331664"/>
            <a:ext cx="9601723" cy="6079294"/>
            <a:chOff x="4065423" y="331664"/>
            <a:chExt cx="9601723" cy="6079294"/>
          </a:xfrm>
        </p:grpSpPr>
        <p:graphicFrame>
          <p:nvGraphicFramePr>
            <p:cNvPr id="4" name="Object 3">
              <a:extLst>
                <a:ext uri="{FF2B5EF4-FFF2-40B4-BE49-F238E27FC236}">
                  <a16:creationId xmlns:a16="http://schemas.microsoft.com/office/drawing/2014/main" id="{7968DB7F-9988-D4E6-4FC4-021505004265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3337616097"/>
                </p:ext>
              </p:extLst>
            </p:nvPr>
          </p:nvGraphicFramePr>
          <p:xfrm>
            <a:off x="5054649" y="1215044"/>
            <a:ext cx="7432048" cy="18715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7" imgW="6107604" imgH="1508159" progId="Word.Document.12">
                    <p:link updateAutomatic="1"/>
                  </p:oleObj>
                </mc:Choice>
                <mc:Fallback>
                  <p:oleObj name="Document" r:id="rId7" imgW="6107604" imgH="150815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5054649" y="1215044"/>
                          <a:ext cx="7432048" cy="18715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>
              <a:extLst>
                <a:ext uri="{FF2B5EF4-FFF2-40B4-BE49-F238E27FC236}">
                  <a16:creationId xmlns:a16="http://schemas.microsoft.com/office/drawing/2014/main" id="{D427C99D-AB41-9CA4-3EA5-306FCD076FCD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981000570"/>
                </p:ext>
              </p:extLst>
            </p:nvPr>
          </p:nvGraphicFramePr>
          <p:xfrm>
            <a:off x="6096000" y="331664"/>
            <a:ext cx="7571146" cy="43932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9" imgW="6221839" imgH="3540189" progId="Word.Document.12">
                    <p:link updateAutomatic="1"/>
                  </p:oleObj>
                </mc:Choice>
                <mc:Fallback>
                  <p:oleObj name="Document" r:id="rId9" imgW="6221839" imgH="354018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6096000" y="331664"/>
                          <a:ext cx="7571146" cy="43932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>
              <a:extLst>
                <a:ext uri="{FF2B5EF4-FFF2-40B4-BE49-F238E27FC236}">
                  <a16:creationId xmlns:a16="http://schemas.microsoft.com/office/drawing/2014/main" id="{C03BA18C-67C3-B974-576E-BDB21FDBBFFE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539928061"/>
                </p:ext>
              </p:extLst>
            </p:nvPr>
          </p:nvGraphicFramePr>
          <p:xfrm>
            <a:off x="4065423" y="5026016"/>
            <a:ext cx="7640694" cy="13849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11" imgW="6279315" imgH="1115526" progId="Word.Document.12">
                    <p:link updateAutomatic="1"/>
                  </p:oleObj>
                </mc:Choice>
                <mc:Fallback>
                  <p:oleObj name="Document" r:id="rId11" imgW="6279315" imgH="1115526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065423" y="5026016"/>
                          <a:ext cx="7640694" cy="13849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7170" name="Picture 2" descr="EditableTemplates - Premium Powerpoint Templates and Business Design  Templates">
            <a:extLst>
              <a:ext uri="{FF2B5EF4-FFF2-40B4-BE49-F238E27FC236}">
                <a16:creationId xmlns:a16="http://schemas.microsoft.com/office/drawing/2014/main" id="{771FCCDC-C0FA-48E7-1BF5-2839CB3FEE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80"/>
          <a:stretch/>
        </p:blipFill>
        <p:spPr bwMode="auto">
          <a:xfrm>
            <a:off x="377690" y="1356050"/>
            <a:ext cx="5373425" cy="30676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6AA5699-EEDE-D42E-97A5-58399DD1DE9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493" end="951.6458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1783" y="702786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6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69 0.42152 L -2.08333E-6 0.0405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1905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19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261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914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4985B7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0000">
              <a:srgbClr val="A9B0DD"/>
            </a:gs>
            <a:gs pos="56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3322" y="238790"/>
            <a:ext cx="5613302" cy="1317031"/>
          </a:xfrm>
          <a:prstGeom prst="rect">
            <a:avLst/>
          </a:prstGeom>
        </p:spPr>
        <p:txBody>
          <a:bodyPr spcFirstLastPara="1" numCol="1" rtlCol="1" anchor="b">
            <a:prstTxWarp prst="textSlant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FEAC22"/>
                </a:solidFill>
              </a:rPr>
              <a:t>בדיקות ש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80719" y="1821526"/>
            <a:ext cx="3187006" cy="1323439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en-US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Security Tests</a:t>
            </a:r>
            <a:r>
              <a:rPr lang="he-IL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 </a:t>
            </a:r>
            <a:endParaRPr lang="en-US" sz="2800" dirty="0">
              <a:solidFill>
                <a:srgbClr val="8E5707"/>
              </a:solidFill>
              <a:latin typeface="Book Antiqua" panose="02040602050305030304" pitchFamily="18" charset="0"/>
            </a:endParaRPr>
          </a:p>
        </p:txBody>
      </p:sp>
      <p:sp>
        <p:nvSpPr>
          <p:cNvPr id="28" name="תיבת טקסט 27">
            <a:extLst>
              <a:ext uri="{FF2B5EF4-FFF2-40B4-BE49-F238E27FC236}">
                <a16:creationId xmlns:a16="http://schemas.microsoft.com/office/drawing/2014/main" id="{7E8A9891-C90F-1A44-BCCD-FBF9D5B431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786" y="3467100"/>
            <a:ext cx="4717325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Survival &amp; Recovery </a:t>
            </a:r>
          </a:p>
        </p:txBody>
      </p:sp>
      <p:sp>
        <p:nvSpPr>
          <p:cNvPr id="29" name="תיבת טקסט 28">
            <a:extLst>
              <a:ext uri="{FF2B5EF4-FFF2-40B4-BE49-F238E27FC236}">
                <a16:creationId xmlns:a16="http://schemas.microsoft.com/office/drawing/2014/main" id="{FAFD78FA-6465-0C43-8B01-016E3D123F6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480458" y="2151292"/>
            <a:ext cx="2975982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Integration </a:t>
            </a: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864099" y="3658419"/>
            <a:ext cx="2499402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Interface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953560" y="5138539"/>
            <a:ext cx="3671198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Compatibility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4BB271-CAA4-F7F8-8F00-25A51BD6442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85070" y="2006010"/>
            <a:ext cx="11096311" cy="4128783"/>
            <a:chOff x="385070" y="2006010"/>
            <a:chExt cx="11096311" cy="4128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ED126E-F1BA-28E2-F6F0-9D50DFF1D5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479955" y="2006011"/>
              <a:ext cx="1001426" cy="4128782"/>
              <a:chOff x="10077071" y="1759334"/>
              <a:chExt cx="1133421" cy="4236342"/>
            </a:xfrm>
          </p:grpSpPr>
          <p:pic>
            <p:nvPicPr>
              <p:cNvPr id="3" name="תמונה 2">
                <a:extLst>
                  <a:ext uri="{FF2B5EF4-FFF2-40B4-BE49-F238E27FC236}">
                    <a16:creationId xmlns:a16="http://schemas.microsoft.com/office/drawing/2014/main" id="{043C22A2-0C6B-9D4C-AB4B-97AAE4D515B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077073" y="1759334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6" name="תמונה 5">
                <a:extLst>
                  <a:ext uri="{FF2B5EF4-FFF2-40B4-BE49-F238E27FC236}">
                    <a16:creationId xmlns:a16="http://schemas.microsoft.com/office/drawing/2014/main" id="{E430554F-A124-D14E-9DA4-83B34DC3B9C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077072" y="3354670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18" name="תמונה 17">
                <a:extLst>
                  <a:ext uri="{FF2B5EF4-FFF2-40B4-BE49-F238E27FC236}">
                    <a16:creationId xmlns:a16="http://schemas.microsoft.com/office/drawing/2014/main" id="{3FC57B1A-E0C7-9C40-A929-5FE89DBB23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flipH="1">
                <a:off x="10077071" y="4730540"/>
                <a:ext cx="1133420" cy="1265136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8E4D694-FD49-0C39-58D8-E36D80BC3E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85070" y="2006010"/>
              <a:ext cx="1075824" cy="3799345"/>
              <a:chOff x="-109040" y="1842688"/>
              <a:chExt cx="1176355" cy="3822222"/>
            </a:xfrm>
          </p:grpSpPr>
          <p:pic>
            <p:nvPicPr>
              <p:cNvPr id="32" name="תמונה 31">
                <a:extLst>
                  <a:ext uri="{FF2B5EF4-FFF2-40B4-BE49-F238E27FC236}">
                    <a16:creationId xmlns:a16="http://schemas.microsoft.com/office/drawing/2014/main" id="{8F36344A-7476-7340-AFE8-8E42791531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24488" y="1842688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34" name="תמונה 33">
                <a:extLst>
                  <a:ext uri="{FF2B5EF4-FFF2-40B4-BE49-F238E27FC236}">
                    <a16:creationId xmlns:a16="http://schemas.microsoft.com/office/drawing/2014/main" id="{B3A33431-125E-F54F-8807-413DA9657E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-109040" y="3269494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4" name="תמונה 3">
                <a:extLst>
                  <a:ext uri="{FF2B5EF4-FFF2-40B4-BE49-F238E27FC236}">
                    <a16:creationId xmlns:a16="http://schemas.microsoft.com/office/drawing/2014/main" id="{67139B03-670B-F646-B2D3-909FDBD7A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9215" y="4849618"/>
                <a:ext cx="815292" cy="8152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pic>
        </p:grpSp>
      </p:grpSp>
      <p:sp>
        <p:nvSpPr>
          <p:cNvPr id="20" name="תיבת טקסט 19">
            <a:extLst>
              <a:ext uri="{FF2B5EF4-FFF2-40B4-BE49-F238E27FC236}">
                <a16:creationId xmlns:a16="http://schemas.microsoft.com/office/drawing/2014/main" id="{BBFC0FE6-C712-4D43-983B-33BC9BC999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12687" y="4979324"/>
            <a:ext cx="2206976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C.R.U.D</a:t>
            </a:r>
          </a:p>
        </p:txBody>
      </p:sp>
      <p:pic>
        <p:nvPicPr>
          <p:cNvPr id="9218" name="Picture 2" descr="Top 10 Warehouse PowerPoint Presentation Templates in 2025">
            <a:extLst>
              <a:ext uri="{FF2B5EF4-FFF2-40B4-BE49-F238E27FC236}">
                <a16:creationId xmlns:a16="http://schemas.microsoft.com/office/drawing/2014/main" id="{DE1407D3-956E-CD98-7691-D92A3272D1F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2" b="12768"/>
          <a:stretch/>
        </p:blipFill>
        <p:spPr bwMode="auto">
          <a:xfrm>
            <a:off x="81456" y="148070"/>
            <a:ext cx="4957465" cy="17306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Recording">
            <a:hlinkClick r:id="" action="ppaction://media"/>
            <a:extLst>
              <a:ext uri="{FF2B5EF4-FFF2-40B4-BE49-F238E27FC236}">
                <a16:creationId xmlns:a16="http://schemas.microsoft.com/office/drawing/2014/main" id="{F94F56F8-134D-6FDF-BD5B-3F1D7BC2B2B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370" end="677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34637" y="6858000"/>
            <a:ext cx="531813" cy="531813"/>
          </a:xfrm>
          <a:prstGeom prst="rect">
            <a:avLst/>
          </a:prstGeom>
        </p:spPr>
      </p:pic>
      <p:pic>
        <p:nvPicPr>
          <p:cNvPr id="9" name="Recording (2)">
            <a:hlinkClick r:id="" action="ppaction://media"/>
            <a:extLst>
              <a:ext uri="{FF2B5EF4-FFF2-40B4-BE49-F238E27FC236}">
                <a16:creationId xmlns:a16="http://schemas.microsoft.com/office/drawing/2014/main" id="{B0E774C5-E1B1-99EE-3772-7CC306D722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626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76148" y="6915694"/>
            <a:ext cx="531813" cy="531813"/>
          </a:xfrm>
          <a:prstGeom prst="rect">
            <a:avLst/>
          </a:prstGeom>
        </p:spPr>
      </p:pic>
      <p:pic>
        <p:nvPicPr>
          <p:cNvPr id="14" name="Luna">
            <a:hlinkClick r:id="" action="ppaction://media"/>
            <a:extLst>
              <a:ext uri="{FF2B5EF4-FFF2-40B4-BE49-F238E27FC236}">
                <a16:creationId xmlns:a16="http://schemas.microsoft.com/office/drawing/2014/main" id="{E41DA985-AE55-18ED-7C8B-5AE67BEC4F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6"/>
          <a:srcRect t="25972" b="17546"/>
          <a:stretch/>
        </p:blipFill>
        <p:spPr>
          <a:xfrm>
            <a:off x="4620484" y="2235089"/>
            <a:ext cx="2943780" cy="29558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6784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1.48148E-6 L 1.45833E-6 0.7206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01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15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00"/>
                            </p:stCondLst>
                            <p:childTnLst>
                              <p:par>
                                <p:cTn id="1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985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053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53"/>
                            </p:stCondLst>
                            <p:childTnLst>
                              <p:par>
                                <p:cTn id="36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7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7033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4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video>
              <p:cMediaNode vol="80000">
                <p:cTn id="4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12" grpId="0"/>
      <p:bldP spid="26" grpId="0"/>
      <p:bldP spid="28" grpId="0"/>
      <p:bldP spid="29" grpId="0"/>
      <p:bldP spid="7" grpId="0"/>
      <p:bldP spid="30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EDECE6"/>
            </a:gs>
            <a:gs pos="0">
              <a:srgbClr val="D1D5DF"/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235199" y="879010"/>
            <a:ext cx="7721602" cy="1631892"/>
          </a:xfrm>
          <a:prstGeom prst="rect">
            <a:avLst/>
          </a:prstGeom>
        </p:spPr>
        <p:txBody>
          <a:bodyPr spcFirstLastPara="1" numCol="1" rtlCol="1" anchor="b">
            <a:prstTxWarp prst="textArch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017D76"/>
                </a:solidFill>
              </a:rPr>
              <a:t>בדיקות שלא 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184714" y="2065760"/>
            <a:ext cx="1465002" cy="523220"/>
          </a:xfrm>
          <a:prstGeom prst="rect">
            <a:avLst/>
          </a:prstGeom>
        </p:spPr>
        <p:txBody>
          <a:bodyPr rtlCol="1" anchor="ctr">
            <a:no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he-IL" sz="3600" dirty="0">
                <a:solidFill>
                  <a:srgbClr val="F4B184"/>
                </a:solidFill>
              </a:rPr>
              <a:t>GUI</a:t>
            </a:r>
            <a:endParaRPr lang="en-US" sz="3600" dirty="0">
              <a:solidFill>
                <a:srgbClr val="F4B184"/>
              </a:solidFill>
            </a:endParaRP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6231" y="2065760"/>
            <a:ext cx="1699792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Load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222276" y="5840312"/>
            <a:ext cx="4275867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Accessibility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7A5979F-4693-FC41-93B8-AC05F42037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224" y="1749617"/>
            <a:ext cx="1522570" cy="1522570"/>
          </a:xfrm>
          <a:prstGeom prst="rect">
            <a:avLst/>
          </a:prstGeom>
        </p:spPr>
      </p:pic>
      <p:pic>
        <p:nvPicPr>
          <p:cNvPr id="8" name="תמונה 7">
            <a:extLst>
              <a:ext uri="{FF2B5EF4-FFF2-40B4-BE49-F238E27FC236}">
                <a16:creationId xmlns:a16="http://schemas.microsoft.com/office/drawing/2014/main" id="{173D342C-B056-7C4D-AF21-A647FE4208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2964" y="1548807"/>
            <a:ext cx="1852590" cy="1767665"/>
          </a:xfrm>
          <a:prstGeom prst="rect">
            <a:avLst/>
          </a:prstGeom>
        </p:spPr>
      </p:pic>
      <p:pic>
        <p:nvPicPr>
          <p:cNvPr id="15" name="תמונה 14">
            <a:extLst>
              <a:ext uri="{FF2B5EF4-FFF2-40B4-BE49-F238E27FC236}">
                <a16:creationId xmlns:a16="http://schemas.microsoft.com/office/drawing/2014/main" id="{C64D6F88-45BD-E84B-89B2-B9EC6C1238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051" y="3611432"/>
            <a:ext cx="2022917" cy="202291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CA6C9AD-8316-254B-979E-F0A83E4753C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43667" y="3611432"/>
            <a:ext cx="7511935" cy="2752100"/>
            <a:chOff x="152400" y="2543694"/>
            <a:chExt cx="12192000" cy="4466705"/>
          </a:xfrm>
        </p:grpSpPr>
        <p:pic>
          <p:nvPicPr>
            <p:cNvPr id="8194" name="Picture 2" descr="Storage unit PowerPoint presentation outlet slide">
              <a:extLst>
                <a:ext uri="{FF2B5EF4-FFF2-40B4-BE49-F238E27FC236}">
                  <a16:creationId xmlns:a16="http://schemas.microsoft.com/office/drawing/2014/main" id="{811B644F-B356-B6AB-3E1F-4438B5AA3B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869"/>
            <a:stretch/>
          </p:blipFill>
          <p:spPr bwMode="auto">
            <a:xfrm>
              <a:off x="152400" y="2543694"/>
              <a:ext cx="12192000" cy="44667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7C4B54-7280-AB55-2B46-4A447965EA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728364" y="3684236"/>
              <a:ext cx="1297721" cy="582838"/>
            </a:xfrm>
            <a:prstGeom prst="rect">
              <a:avLst/>
            </a:prstGeom>
            <a:solidFill>
              <a:srgbClr val="F4B1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EG"/>
            </a:p>
          </p:txBody>
        </p:sp>
      </p:grpSp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9E469410-1BDE-3D5B-ABDB-8E74DE6F578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884" end="565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9075" y="7153275"/>
            <a:ext cx="531813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3F3F292B-B2DA-FF79-68F5-A901B94DA9E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292" end="598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19831" y="719815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61B31995-F37A-CE37-872C-8C9522B75A8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rcRect t="25587" b="19146"/>
          <a:stretch/>
        </p:blipFill>
        <p:spPr>
          <a:xfrm>
            <a:off x="5078729" y="1122367"/>
            <a:ext cx="2533286" cy="24890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2838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64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6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1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2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68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680"/>
                            </p:stCondLst>
                            <p:childTnLst>
                              <p:par>
                                <p:cTn id="38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3153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44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26" grpId="0"/>
      <p:bldP spid="7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92C5E11_9A39_432C_9476_22394D7E3B6B&quot;,&quot;SourceFullName&quot;:&quot;D:\\MegaDrive\\אישי\\אישי\\ECOM - QA קורס\\חומרי לימוד\\Meytal\\פרויקט 1 - אוסאמה\\PROJECT GITHUB\\השינויים שלי\\גאנט.xlsx!ניהול מחסן גאנט!R1C2:R17C46&quot;,&quot;LastUpdate&quot;:&quot;2025-05-04 9:37 AM&quot;,&quot;UpdatedBy&quot;:&quot;osama&quot;,&quot;IsLinked&quot;:false,&quot;IsBrokenLink&quot;:false,&quot;Type&quot;:2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4BDDD5_A826_4910_BCA7_D3CE6C0F2153&quot;,&quot;SourceFullName&quot;:&quot;D:\\MegaDrive\\אישי\\אישי\\ECOM - QA קורס\\חומרי לימוד\\Meytal\\פרויקט 1 - אוסאמה\\PROJECT GITHUB\\השינויים שלי\\מסמך בדיקות STP.docx!OLE_LINK1&quot;,&quot;LastUpdate&quot;:&quot;2025-05-04 9:50 AM&quot;,&quot;UpdatedBy&quot;:&quot;osama&quot;,&quot;IsLinked&quot;:false,&quot;IsBrokenLink&quot;:false,&quot;Type&quot;:2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2994ED_CDDE_422B_BD80_A1DB4DC5D63C&quot;,&quot;SourceFullName&quot;:&quot;D:\\MegaDrive\\אישי\\אישי\\ECOM - QA קורס\\חומרי לימוד\\Meytal\\פרויקט 1 - אוסאמה\\PROJECT GITHUB\\השינויים שלי\\מסמך בדיקות STP.docx!OLE_LINK5&quot;,&quot;LastUpdate&quot;:&quot;2025-05-04 10:01 AM&quot;,&quot;UpdatedBy&quot;:&quot;osama&quot;,&quot;IsLinked&quot;:false,&quot;IsBrokenLink&quot;:false,&quot;Type&quot;:2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727F55F_8977_445E_98B5_D18661889E86&quot;,&quot;SourceFullName&quot;:&quot;D:\\MegaDrive\\אישי\\אישי\\ECOM - QA קורס\\חומרי לימוד\\Meytal\\פרויקט 1 - אוסאמה\\PROJECT GITHUB\\השינויים שלי\\מסמך בדיקות STP.docx!OLE_LINK6&quot;,&quot;LastUpdate&quot;:&quot;2025-05-04 10:02 AM&quot;,&quot;UpdatedBy&quot;:&quot;osama&quot;,&quot;IsLinked&quot;:false,&quot;IsBrokenLink&quot;:false,&quot;Type&quot;:2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836BC6A_E853_42D3_B93E_AE2EA5F101B7&quot;,&quot;SourceFullName&quot;:&quot;D:\\MegaDrive\\אישי\\אישי\\ECOM - QA קורס\\חומרי לימוד\\Meytal\\פרויקט 1 - אוסאמה\\PROJECT GITHUB\\השינויים שלי\\מסמך בדיקות STP.docx!OLE_LINK7&quot;,&quot;LastUpdate&quot;:&quot;2025-05-04 10:03 AM&quot;,&quot;UpdatedBy&quot;:&quot;osama&quot;,&quot;IsLinked&quot;:false,&quot;IsBrokenLink&quot;:false,&quot;Type&quot;:2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843682_973E_45FF_B0F4_0C83A318F24A&quot;,&quot;SourceFullName&quot;:&quot;D:\\MegaDrive\\אישי\\אישי\\ECOM - QA קורס\\חומרי לימוד\\Meytal\\פרויקט 1 - אוסאמה\\PROJECT GITHUB\\השינויים שלי\\מסמך בדיקות STP.docx!OLE_LINK3&quot;,&quot;LastUpdate&quot;:&quot;2025-05-04 9:55 AM&quot;,&quot;UpdatedBy&quot;:&quot;osama&quot;,&quot;IsLinked&quot;:false,&quot;IsBrokenLink&quot;:false,&quot;Type&quot;:2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B23FEF_A11E_4F32_807C_45CACF00334E&quot;,&quot;SourceFullName&quot;:&quot;D:\\MegaDrive\\אישי\\אישי\\ECOM - QA קורס\\חומרי לימוד\\Meytal\\פרויקט 1 - אוסאמה\\PROJECT GITHUB\\השינויים שלי\\מסמך בדיקות STP.docx!OLE_LINK4&quot;,&quot;LastUpdate&quot;:&quot;2025-05-04 9:55 AM&quot;,&quot;UpdatedBy&quot;:&quot;osama&quot;,&quot;IsLinked&quot;:false,&quot;IsBrokenLink&quot;:false,&quot;Type&quot;:2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41D1FA_7D76_43D0_9858_05FD33CDD71A&quot;,&quot;SourceFullName&quot;:&quot;D:\\MegaDrive\\אישי\\אישי\\ECOM - QA קורס\\חומרי לימוד\\Meytal\\פרויקט 1 - אוסאמה\\PROJECT GITHUB\\השינויים שלי\\מסמך בדיקות STP.docx!OLE_LINK2&quot;,&quot;LastUpdate&quot;:&quot;2025-05-04 9:52 AM&quot;,&quot;UpdatedBy&quot;:&quot;osama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2</TotalTime>
  <Words>139</Words>
  <Application>Microsoft Office PowerPoint</Application>
  <PresentationFormat>Widescreen</PresentationFormat>
  <Paragraphs>42</Paragraphs>
  <Slides>12</Slides>
  <Notes>0</Notes>
  <HiddenSlides>0</HiddenSlides>
  <MMClips>27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8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Book Antiqua</vt:lpstr>
      <vt:lpstr>Calibri</vt:lpstr>
      <vt:lpstr>Calibri Light</vt:lpstr>
      <vt:lpstr>David</vt:lpstr>
      <vt:lpstr>ערכת נושא Office</vt:lpstr>
      <vt:lpstr>file:///D:\MegaDrive\אישי\אישי\ECOM%20-%20QA%20קורס\חומרי%20לימוד\Meytal\פרויקט%201%20-%20אוסאמה\PROJECT%20GITHUB\השינויים%20שלי\גאנט.xlsx!ניהול%20מחסן%20גאנט!R1C2:R17C46</vt:lpstr>
      <vt:lpstr>file:///D:\MegaDrive\אישי\אישי\ECOM%20-%20QA%20קורס\חומרי%20לימוד\Meytal\פרויקט%201%20-%20אוסאמה\PROJECT%20GITHUB\השינויים%20שלי\מסמך%20בדיקות%20STP.docx!OLE_LINK1</vt:lpstr>
      <vt:lpstr>file:///D:\MegaDrive\אישי\אישי\ECOM%20-%20QA%20קורס\חומרי%20לימוד\Meytal\פרויקט%201%20-%20אוסאמה\PROJECT%20GITHUB\השינויים%20שלי\מסמך%20בדיקות%20STP.docx!OLE_LINK5</vt:lpstr>
      <vt:lpstr>file:///D:\MegaDrive\אישי\אישי\ECOM%20-%20QA%20קורס\חומרי%20לימוד\Meytal\פרויקט%201%20-%20אוסאמה\PROJECT%20GITHUB\השינויים%20שלי\מסמך%20בדיקות%20STP.docx!OLE_LINK6</vt:lpstr>
      <vt:lpstr>file:///D:\MegaDrive\אישי\אישי\ECOM%20-%20QA%20קורס\חומרי%20לימוד\Meytal\פרויקט%201%20-%20אוסאמה\PROJECT%20GITHUB\השינויים%20שלי\מסמך%20בדיקות%20STP.docx!OLE_LINK7</vt:lpstr>
      <vt:lpstr>file:///D:\MegaDrive\אישי\אישי\ECOM%20-%20QA%20קורס\חומרי%20לימוד\Meytal\פרויקט%201%20-%20אוסאמה\PROJECT%20GITHUB\השינויים%20שלי\מסמך%20בדיקות%20STP.docx!OLE_LINK3</vt:lpstr>
      <vt:lpstr>file:///D:\MegaDrive\אישי\אישי\ECOM%20-%20QA%20קורס\חומרי%20לימוד\Meytal\פרויקט%201%20-%20אוסאמה\PROJECT%20GITHUB\השינויים%20שלי\מסמך%20בדיקות%20STP.docx!OLE_LINK4</vt:lpstr>
      <vt:lpstr>file:///D:\MegaDrive\אישי\אישי\ECOM%20-%20QA%20קורס\חומרי%20לימוד\Meytal\פרויקט%201%20-%20אוסאמה\PROJECT%20GITHUB\השינויים%20שלי\מסמך%20בדיקות%20STP.docx!OLE_LINK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Adasha Chai</dc:creator>
  <cp:lastModifiedBy>Osama Slaieh</cp:lastModifiedBy>
  <cp:revision>69</cp:revision>
  <dcterms:created xsi:type="dcterms:W3CDTF">2022-05-19T14:23:39Z</dcterms:created>
  <dcterms:modified xsi:type="dcterms:W3CDTF">2025-06-19T09:07:56Z</dcterms:modified>
</cp:coreProperties>
</file>